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sldIdLst>
    <p:sldId id="257" r:id="rId3"/>
    <p:sldId id="258" r:id="rId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004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488506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173025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821651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4606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28018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867419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14138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938237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8224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568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2296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816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1450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2129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155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810668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33156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790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es</a:t>
            </a:r>
            <a:endParaRPr lang="es-ES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dos los derechos reservados Ninguna parte de esta publicación puede ser reproducida </a:t>
            </a:r>
            <a:br>
              <a:rPr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 distribuida electrónicamente sin la previa autorización del editor. </a:t>
            </a:r>
          </a:p>
        </p:txBody>
      </p:sp>
    </p:spTree>
    <p:extLst>
      <p:ext uri="{BB962C8B-B14F-4D97-AF65-F5344CB8AC3E}">
        <p14:creationId xmlns:p14="http://schemas.microsoft.com/office/powerpoint/2010/main" val="718287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067310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6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84358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Plantilla Sidel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0 October 2019</a:t>
            </a:fld>
            <a:r>
              <a:rPr lang="en-GB">
                <a:solidFill>
                  <a:srgbClr val="7F7F7F"/>
                </a:solidFill>
              </a:rPr>
              <a:t> Confidencial</a:t>
            </a:r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es-ES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0A2EAD1-DC0A-4E65-87AF-43A9F09E704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1796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BC0AB92-93F3-48B9-B2A5-CE86869C591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4160358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375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zca el consumo eléctrico en entre un 20 y un 45 %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363" y="131190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Ecove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or: optimización de </a:t>
            </a:r>
            <a:r>
              <a:rPr sz="800" kern="0" dirty="0" err="1">
                <a:solidFill>
                  <a:srgbClr val="000000"/>
                </a:solidFill>
              </a:rPr>
              <a:t>costos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lang="fr-FR" sz="800" kern="0" dirty="0" err="1">
                <a:solidFill>
                  <a:srgbClr val="000000"/>
                </a:solidFill>
              </a:rPr>
              <a:t>Sostenibilidad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o: sopladoras Universal excepto la versión de calentamiento fijo.</a:t>
            </a:r>
          </a:p>
          <a:p>
            <a:r>
              <a:rPr sz="800" kern="0" dirty="0">
                <a:solidFill>
                  <a:srgbClr val="000000"/>
                </a:solidFill>
              </a:rPr>
              <a:t>Código de catálogo</a:t>
            </a:r>
            <a:r>
              <a:rPr sz="800" kern="0">
                <a:solidFill>
                  <a:srgbClr val="000000"/>
                </a:solidFill>
              </a:rPr>
              <a:t>: 1021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851618"/>
              </p:ext>
            </p:extLst>
          </p:nvPr>
        </p:nvGraphicFramePr>
        <p:xfrm>
          <a:off x="651885" y="1644208"/>
          <a:ext cx="7997390" cy="4062189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4349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Entre un 20 % y un 45 %</a:t>
                      </a:r>
                      <a:r>
                        <a:t> </a:t>
                      </a:r>
                      <a:r>
                        <a:rPr lang="en-US" sz="1200" dirty="0"/>
                        <a:t>de reducción en el consumo eléctric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enos lámparas para un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1 %</a:t>
                      </a:r>
                      <a:r>
                        <a:rPr lang="en-US" sz="1200" dirty="0"/>
                        <a:t> menos de potencia instalad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ejor dirección del calentamiento: una zonificación más exacta en la superficie de la preforma y un estirado optimizado debajo del cuell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antenimiento más sencillo: el módulo de calentamiento puede revisarse en el banco mientras la máquina funciona con un módulo de repuest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os cerámicos son autolimpiantes por efecto de pirólisi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evo ajuste de soporte bloque/horno: configuración independiente del escudo de enfriamiento del cuello para una mejor estabilidad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 de Ecoven para enfriamiento de lámparas: la Super Cobra se remplaza por un ventilador dedicado a cada módul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s de calentamiento: solo 8 lámparas infrarrojas, lámparas más eficientes, pared de cerámica y reflector superior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flector superior del horno de cerámica, ajustable e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ltur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ar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daptarse a todas las longitudes de preform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bleado: adición de armario precableado para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uministra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otenci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 los ventilador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eva automatización y proceso: armario eléctrico principal actualizado (suministro de potencia, nuevas funciones y reajuste de todas las fichas de proceso)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hteck 11">
            <a:extLst>
              <a:ext uri="{FF2B5EF4-FFF2-40B4-BE49-F238E27FC236}">
                <a16:creationId xmlns:a16="http://schemas.microsoft.com/office/drawing/2014/main" id="{9561F896-DE4E-4CB6-AEC8-E220433D816F}"/>
              </a:ext>
            </a:extLst>
          </p:cNvPr>
          <p:cNvSpPr/>
          <p:nvPr/>
        </p:nvSpPr>
        <p:spPr>
          <a:xfrm>
            <a:off x="4767308" y="1644208"/>
            <a:ext cx="3872692" cy="396123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33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472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zca la electricidad en entre un 20 y </a:t>
            </a:r>
            <a:br>
              <a:rPr dirty="0"/>
            </a:br>
            <a:r>
              <a:rPr dirty="0"/>
              <a:t>un 45 %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538" y="1406247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Ecoven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857390"/>
              </p:ext>
            </p:extLst>
          </p:nvPr>
        </p:nvGraphicFramePr>
        <p:xfrm>
          <a:off x="651885" y="1743075"/>
          <a:ext cx="7995726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uevo ajuste de soporte bloque/horno: </a:t>
                      </a:r>
                      <a:br>
                        <a:rPr dirty="0"/>
                      </a:br>
                      <a:r>
                        <a:rPr lang="en-US" sz="1200" dirty="0"/>
                        <a:t>configuración independiente del escudo de enfriamiento del cuello para una mejor estabilidad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Módulo de Ecoven para enfriamiento de lámparas:</a:t>
                      </a:r>
                      <a:br>
                        <a:rPr dirty="0"/>
                      </a:br>
                      <a:r>
                        <a:rPr lang="en-US" sz="1200" dirty="0"/>
                        <a:t>la Super Cobra se remplaza por un ventilador dedicado a cada módul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Módulos de calentamiento:</a:t>
                      </a:r>
                      <a:br>
                        <a:rPr dirty="0"/>
                      </a:br>
                      <a:r>
                        <a:rPr lang="en-US" sz="1200" dirty="0"/>
                        <a:t>solo 8 lámparas infrarrojas, lámparas más eficientes, pared de cerámica y reflector superior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Reflector superior del horno de cerámica, </a:t>
                      </a:r>
                      <a:r>
                        <a:rPr lang="en-US" sz="1200" dirty="0"/>
                        <a:t>ajustable en altura para adaptarse a todas </a:t>
                      </a:r>
                      <a:r>
                        <a:rPr lang="en-US" sz="1200" dirty="0" err="1"/>
                        <a:t>las</a:t>
                      </a:r>
                      <a:r>
                        <a:rPr lang="en-US" sz="1200" dirty="0"/>
                        <a:t>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longitudes de preform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ableado: </a:t>
                      </a:r>
                      <a:r>
                        <a:rPr lang="en-US" sz="1200" dirty="0"/>
                        <a:t>adición de armario precableado para suministrar potencia a los ventiladore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ueva automatización y proceso: </a:t>
                      </a:r>
                      <a:r>
                        <a:rPr lang="en-US" sz="1200" dirty="0"/>
                        <a:t>armario eléctrico principal actualizado (suministro de </a:t>
                      </a:r>
                      <a:br>
                        <a:rPr lang="en-US" sz="1200" dirty="0"/>
                      </a:br>
                      <a:r>
                        <a:rPr lang="en-US" sz="1200" dirty="0" err="1"/>
                        <a:t>potencia</a:t>
                      </a:r>
                      <a:r>
                        <a:rPr lang="en-US" sz="1200" dirty="0"/>
                        <a:t>, nuevas funciones y reajuste de todas las fichas de proceso)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575612" y="2215917"/>
            <a:ext cx="884820" cy="3409327"/>
            <a:chOff x="7321550" y="1842293"/>
            <a:chExt cx="1153814" cy="4445795"/>
          </a:xfrm>
        </p:grpSpPr>
        <p:pic>
          <p:nvPicPr>
            <p:cNvPr id="6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" t="3406" r="83820" b="7014"/>
            <a:stretch/>
          </p:blipFill>
          <p:spPr bwMode="gray">
            <a:xfrm>
              <a:off x="7321550" y="1842293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0" t="3406" r="66266" b="7014"/>
            <a:stretch/>
          </p:blipFill>
          <p:spPr bwMode="gray">
            <a:xfrm>
              <a:off x="7321550" y="2589529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52" t="14276" r="51150" b="16306"/>
            <a:stretch/>
          </p:blipFill>
          <p:spPr bwMode="gray">
            <a:xfrm>
              <a:off x="7321550" y="333676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11" t="15338" r="33525" b="10078"/>
            <a:stretch/>
          </p:blipFill>
          <p:spPr bwMode="gray">
            <a:xfrm>
              <a:off x="7321550" y="4084001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28" t="14276" r="16274" b="16306"/>
            <a:stretch/>
          </p:blipFill>
          <p:spPr bwMode="gray">
            <a:xfrm>
              <a:off x="7321550" y="4831237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3" descr="1021.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396" t="14276" r="1306" b="16306"/>
            <a:stretch/>
          </p:blipFill>
          <p:spPr bwMode="gray">
            <a:xfrm>
              <a:off x="7321550" y="557847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or: optimización de </a:t>
            </a:r>
            <a:r>
              <a:rPr sz="800" kern="0" dirty="0" err="1">
                <a:solidFill>
                  <a:srgbClr val="000000"/>
                </a:solidFill>
              </a:rPr>
              <a:t>costos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lang="fr-FR" sz="800" kern="0" dirty="0" err="1">
                <a:solidFill>
                  <a:srgbClr val="000000"/>
                </a:solidFill>
              </a:rPr>
              <a:t>Sostenibilidad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o: sopladoras Universal excepto la versión de calentamiento fijo.</a:t>
            </a:r>
          </a:p>
          <a:p>
            <a:r>
              <a:rPr sz="800" kern="0" dirty="0">
                <a:solidFill>
                  <a:srgbClr val="000000"/>
                </a:solidFill>
              </a:rPr>
              <a:t>Código de catálogo: 1021</a:t>
            </a:r>
          </a:p>
        </p:txBody>
      </p:sp>
    </p:spTree>
    <p:extLst>
      <p:ext uri="{BB962C8B-B14F-4D97-AF65-F5344CB8AC3E}">
        <p14:creationId xmlns:p14="http://schemas.microsoft.com/office/powerpoint/2010/main" val="3224024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03</Words>
  <Application>Microsoft Office PowerPoint</Application>
  <PresentationFormat>Affichage à l'écran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8" baseType="lpstr">
      <vt:lpstr>ＭＳ Ｐゴシック</vt:lpstr>
      <vt:lpstr>Arial</vt:lpstr>
      <vt:lpstr>Wingdings</vt:lpstr>
      <vt:lpstr>Sidel Template 2013</vt:lpstr>
      <vt:lpstr>LIOMT</vt:lpstr>
      <vt:lpstr>think-cell Folie</vt:lpstr>
      <vt:lpstr>Reduzca el consumo eléctrico en entre un 20 y un 45 %</vt:lpstr>
      <vt:lpstr>Reduzca la electricidad en entre un 20 y  un 45 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zca el consumo eléctrico en entre un 20 y un 45 %</dc:title>
  <dc:creator>Gouriou, Lydie</dc:creator>
  <cp:lastModifiedBy>Sorega, Dan</cp:lastModifiedBy>
  <cp:revision>4</cp:revision>
  <dcterms:created xsi:type="dcterms:W3CDTF">2014-07-17T11:34:08Z</dcterms:created>
  <dcterms:modified xsi:type="dcterms:W3CDTF">2019-10-10T13:1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12:29.190199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6:13:41.5887608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6:13:41.5887608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